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7" r:id="rId6"/>
  </p:sldMasterIdLst>
  <p:notesMasterIdLst>
    <p:notesMasterId r:id="rId21"/>
  </p:notesMasterIdLst>
  <p:sldIdLst>
    <p:sldId id="6546" r:id="rId7"/>
    <p:sldId id="10504" r:id="rId8"/>
    <p:sldId id="10500" r:id="rId9"/>
    <p:sldId id="10505" r:id="rId10"/>
    <p:sldId id="10502" r:id="rId11"/>
    <p:sldId id="269" r:id="rId12"/>
    <p:sldId id="6566" r:id="rId13"/>
    <p:sldId id="10509" r:id="rId14"/>
    <p:sldId id="10507" r:id="rId15"/>
    <p:sldId id="10508" r:id="rId16"/>
    <p:sldId id="10506" r:id="rId17"/>
    <p:sldId id="10510" r:id="rId18"/>
    <p:sldId id="10511" r:id="rId19"/>
    <p:sldId id="10340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86436D-4398-BFBD-BFD5-03C595BD4491}" v="405" dt="2024-03-28T16:15:00.533"/>
    <p1510:client id="{EF685694-8339-461C-1292-F7EE0B1AB8D5}" v="9" dt="2024-03-29T03:56:41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3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 Benigno" userId="S::jbenigno@njeda.com::46486c21-1bf5-4b1a-a9c5-cbcec73a80a3" providerId="AD" clId="Web-{EF685694-8339-461C-1292-F7EE0B1AB8D5}"/>
    <pc:docChg chg="delSld modSld">
      <pc:chgData name="John Benigno" userId="S::jbenigno@njeda.com::46486c21-1bf5-4b1a-a9c5-cbcec73a80a3" providerId="AD" clId="Web-{EF685694-8339-461C-1292-F7EE0B1AB8D5}" dt="2024-03-29T03:56:31.662" v="3" actId="20577"/>
      <pc:docMkLst>
        <pc:docMk/>
      </pc:docMkLst>
      <pc:sldChg chg="del">
        <pc:chgData name="John Benigno" userId="S::jbenigno@njeda.com::46486c21-1bf5-4b1a-a9c5-cbcec73a80a3" providerId="AD" clId="Web-{EF685694-8339-461C-1292-F7EE0B1AB8D5}" dt="2024-03-29T03:56:01.489" v="0"/>
        <pc:sldMkLst>
          <pc:docMk/>
          <pc:sldMk cId="833378051" sldId="10497"/>
        </pc:sldMkLst>
      </pc:sldChg>
      <pc:sldChg chg="modSp">
        <pc:chgData name="John Benigno" userId="S::jbenigno@njeda.com::46486c21-1bf5-4b1a-a9c5-cbcec73a80a3" providerId="AD" clId="Web-{EF685694-8339-461C-1292-F7EE0B1AB8D5}" dt="2024-03-29T03:56:31.662" v="3" actId="20577"/>
        <pc:sldMkLst>
          <pc:docMk/>
          <pc:sldMk cId="4055650570" sldId="10511"/>
        </pc:sldMkLst>
        <pc:spChg chg="mod">
          <ac:chgData name="John Benigno" userId="S::jbenigno@njeda.com::46486c21-1bf5-4b1a-a9c5-cbcec73a80a3" providerId="AD" clId="Web-{EF685694-8339-461C-1292-F7EE0B1AB8D5}" dt="2024-03-29T03:56:31.662" v="3" actId="20577"/>
          <ac:spMkLst>
            <pc:docMk/>
            <pc:sldMk cId="4055650570" sldId="10511"/>
            <ac:spMk id="2" creationId="{D6AB673E-C0E7-4854-90DC-BCE3EA09D3B6}"/>
          </ac:spMkLst>
        </pc:spChg>
      </pc:sldChg>
    </pc:docChg>
  </pc:docChgLst>
  <pc:docChgLst>
    <pc:chgData name="Aaron Roller" userId="S::aroller@njeda.com::363fe1e5-d76b-4a85-a5ee-a26e1bebce14" providerId="AD" clId="Web-{AB86436D-4398-BFBD-BFD5-03C595BD4491}"/>
    <pc:docChg chg="addSld modSld">
      <pc:chgData name="Aaron Roller" userId="S::aroller@njeda.com::363fe1e5-d76b-4a85-a5ee-a26e1bebce14" providerId="AD" clId="Web-{AB86436D-4398-BFBD-BFD5-03C595BD4491}" dt="2024-03-28T16:15:00.533" v="223" actId="14100"/>
      <pc:docMkLst>
        <pc:docMk/>
      </pc:docMkLst>
      <pc:sldChg chg="modSp">
        <pc:chgData name="Aaron Roller" userId="S::aroller@njeda.com::363fe1e5-d76b-4a85-a5ee-a26e1bebce14" providerId="AD" clId="Web-{AB86436D-4398-BFBD-BFD5-03C595BD4491}" dt="2024-03-28T14:00:19.871" v="50" actId="20577"/>
        <pc:sldMkLst>
          <pc:docMk/>
          <pc:sldMk cId="2430824404" sldId="10510"/>
        </pc:sldMkLst>
        <pc:spChg chg="mod">
          <ac:chgData name="Aaron Roller" userId="S::aroller@njeda.com::363fe1e5-d76b-4a85-a5ee-a26e1bebce14" providerId="AD" clId="Web-{AB86436D-4398-BFBD-BFD5-03C595BD4491}" dt="2024-03-28T14:00:19.871" v="50" actId="20577"/>
          <ac:spMkLst>
            <pc:docMk/>
            <pc:sldMk cId="2430824404" sldId="10510"/>
            <ac:spMk id="2" creationId="{D6AB673E-C0E7-4854-90DC-BCE3EA09D3B6}"/>
          </ac:spMkLst>
        </pc:spChg>
      </pc:sldChg>
      <pc:sldChg chg="addSp delSp modSp add replId">
        <pc:chgData name="Aaron Roller" userId="S::aroller@njeda.com::363fe1e5-d76b-4a85-a5ee-a26e1bebce14" providerId="AD" clId="Web-{AB86436D-4398-BFBD-BFD5-03C595BD4491}" dt="2024-03-28T16:15:00.533" v="223" actId="14100"/>
        <pc:sldMkLst>
          <pc:docMk/>
          <pc:sldMk cId="4055650570" sldId="10511"/>
        </pc:sldMkLst>
        <pc:spChg chg="mod">
          <ac:chgData name="Aaron Roller" userId="S::aroller@njeda.com::363fe1e5-d76b-4a85-a5ee-a26e1bebce14" providerId="AD" clId="Web-{AB86436D-4398-BFBD-BFD5-03C595BD4491}" dt="2024-03-28T14:00:22.996" v="51" actId="20577"/>
          <ac:spMkLst>
            <pc:docMk/>
            <pc:sldMk cId="4055650570" sldId="10511"/>
            <ac:spMk id="2" creationId="{D6AB673E-C0E7-4854-90DC-BCE3EA09D3B6}"/>
          </ac:spMkLst>
        </pc:spChg>
        <pc:spChg chg="mod">
          <ac:chgData name="Aaron Roller" userId="S::aroller@njeda.com::363fe1e5-d76b-4a85-a5ee-a26e1bebce14" providerId="AD" clId="Web-{AB86436D-4398-BFBD-BFD5-03C595BD4491}" dt="2024-03-28T16:15:00.533" v="223" actId="14100"/>
          <ac:spMkLst>
            <pc:docMk/>
            <pc:sldMk cId="4055650570" sldId="10511"/>
            <ac:spMk id="3" creationId="{1A98FC8E-A8C4-4E29-84CA-8EBF89E7B95A}"/>
          </ac:spMkLst>
        </pc:spChg>
        <pc:spChg chg="del mod">
          <ac:chgData name="Aaron Roller" userId="S::aroller@njeda.com::363fe1e5-d76b-4a85-a5ee-a26e1bebce14" providerId="AD" clId="Web-{AB86436D-4398-BFBD-BFD5-03C595BD4491}" dt="2024-03-28T13:52:04.731" v="32"/>
          <ac:spMkLst>
            <pc:docMk/>
            <pc:sldMk cId="4055650570" sldId="10511"/>
            <ac:spMk id="5" creationId="{F3160ACA-ABE5-4636-A723-7EA7EAFDD0CB}"/>
          </ac:spMkLst>
        </pc:spChg>
        <pc:spChg chg="add del mod">
          <ac:chgData name="Aaron Roller" userId="S::aroller@njeda.com::363fe1e5-d76b-4a85-a5ee-a26e1bebce14" providerId="AD" clId="Web-{AB86436D-4398-BFBD-BFD5-03C595BD4491}" dt="2024-03-28T14:00:13.480" v="49"/>
          <ac:spMkLst>
            <pc:docMk/>
            <pc:sldMk cId="4055650570" sldId="10511"/>
            <ac:spMk id="6" creationId="{0373B9FA-4512-430C-8466-8C3B721DDB1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A25411-AB9B-48F4-A826-971CA5EE2C87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68AB52-0663-41E0-87D9-5F23B2C049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3800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6640" y="5252258"/>
            <a:ext cx="6383835" cy="155119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04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565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030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438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11.jpe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E54712-1FCD-4C0D-85AE-64C957C71C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ADC855-2F44-4D4A-9AA3-879CA61FA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1320-9237-4CF8-B308-6B254AC6A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DD7698-325B-4C81-99E9-5295C518E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7F690-6F9E-49C7-AF04-A9C878E2C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11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26A2FA-5CC4-4D74-8452-0823CFD1F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B14E4A-B652-440D-A9C4-9CDF87DF6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ECAC9-37DE-4113-BF1C-3F444DC37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8DF9C7-8D7F-4B76-A097-234A41D81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0F0C25-A435-4519-BF29-3B68AA662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405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6B7B84-47BF-4A49-A182-2D4DD3E7B78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1AEA2C-9480-40F1-B403-C79CE3895F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9FDC2-386A-4FD4-ACF2-C1C74610D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8EEBA2-43B7-428C-ADBB-0EEFC62DA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F46581-EFA8-456B-8FB6-E2F3A8E9A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5770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648FC60-ED4A-4AA8-9950-B7C861486344}"/>
              </a:ext>
            </a:extLst>
          </p:cNvPr>
          <p:cNvPicPr>
            <a:picLocks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66" t="802" r="33819" b="-1"/>
          <a:stretch/>
        </p:blipFill>
        <p:spPr>
          <a:xfrm flipH="1">
            <a:off x="8772278" y="9329"/>
            <a:ext cx="7471262" cy="6839345"/>
          </a:xfrm>
          <a:custGeom>
            <a:avLst/>
            <a:gdLst>
              <a:gd name="connsiteX0" fmla="*/ 13146 w 7322421"/>
              <a:gd name="connsiteY0" fmla="*/ 3338450 h 6703191"/>
              <a:gd name="connsiteX1" fmla="*/ 0 w 7322421"/>
              <a:gd name="connsiteY1" fmla="*/ 3351596 h 6703191"/>
              <a:gd name="connsiteX2" fmla="*/ 13146 w 7322421"/>
              <a:gd name="connsiteY2" fmla="*/ 3364742 h 6703191"/>
              <a:gd name="connsiteX3" fmla="*/ 3970826 w 7322421"/>
              <a:gd name="connsiteY3" fmla="*/ 0 h 6703191"/>
              <a:gd name="connsiteX4" fmla="*/ 3970826 w 7322421"/>
              <a:gd name="connsiteY4" fmla="*/ 6703191 h 6703191"/>
              <a:gd name="connsiteX5" fmla="*/ 7322421 w 7322421"/>
              <a:gd name="connsiteY5" fmla="*/ 3351596 h 6703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322421" h="6703191">
                <a:moveTo>
                  <a:pt x="13146" y="3338450"/>
                </a:moveTo>
                <a:lnTo>
                  <a:pt x="0" y="3351596"/>
                </a:lnTo>
                <a:lnTo>
                  <a:pt x="13146" y="3364742"/>
                </a:lnTo>
                <a:close/>
                <a:moveTo>
                  <a:pt x="3970826" y="0"/>
                </a:moveTo>
                <a:lnTo>
                  <a:pt x="3970826" y="6703191"/>
                </a:lnTo>
                <a:lnTo>
                  <a:pt x="7322421" y="3351596"/>
                </a:lnTo>
                <a:close/>
              </a:path>
            </a:pathLst>
          </a:custGeom>
          <a:blipFill>
            <a:blip r:embed="rId5"/>
            <a:stretch>
              <a:fillRect l="1281" t="39900" r="-2143" b="-854"/>
            </a:stretch>
          </a:blipFill>
          <a:ln w="9525">
            <a:noFill/>
          </a:ln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84074" y="2514600"/>
            <a:ext cx="4961495" cy="2006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Franklin Gothic Demi Cond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84073" y="4546601"/>
            <a:ext cx="6212038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EB5704-3C92-4CFB-9F02-9B3474CC089E}"/>
              </a:ext>
            </a:extLst>
          </p:cNvPr>
          <p:cNvSpPr/>
          <p:nvPr userDrawn="1"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E3D24D5-1910-4BA2-BA4E-227FEB4F5DA0}"/>
              </a:ext>
            </a:extLst>
          </p:cNvPr>
          <p:cNvSpPr/>
          <p:nvPr userDrawn="1"/>
        </p:nvSpPr>
        <p:spPr>
          <a:xfrm>
            <a:off x="5366148" y="3704012"/>
            <a:ext cx="6308067" cy="3153988"/>
          </a:xfrm>
          <a:custGeom>
            <a:avLst/>
            <a:gdLst>
              <a:gd name="connsiteX0" fmla="*/ 3091200 w 6182399"/>
              <a:gd name="connsiteY0" fmla="*/ 0 h 3091200"/>
              <a:gd name="connsiteX1" fmla="*/ 5484848 w 6182399"/>
              <a:gd name="connsiteY1" fmla="*/ 2393649 h 3091200"/>
              <a:gd name="connsiteX2" fmla="*/ 6182399 w 6182399"/>
              <a:gd name="connsiteY2" fmla="*/ 3091200 h 3091200"/>
              <a:gd name="connsiteX3" fmla="*/ 0 w 6182399"/>
              <a:gd name="connsiteY3" fmla="*/ 3091200 h 3091200"/>
              <a:gd name="connsiteX4" fmla="*/ 611972 w 6182399"/>
              <a:gd name="connsiteY4" fmla="*/ 2479229 h 30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82399" h="3091200">
                <a:moveTo>
                  <a:pt x="3091200" y="0"/>
                </a:moveTo>
                <a:lnTo>
                  <a:pt x="5484848" y="2393649"/>
                </a:lnTo>
                <a:lnTo>
                  <a:pt x="6182399" y="3091200"/>
                </a:lnTo>
                <a:lnTo>
                  <a:pt x="0" y="3091200"/>
                </a:lnTo>
                <a:lnTo>
                  <a:pt x="611972" y="2479229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37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B8E9C27-D8D6-4C5B-8B3A-B45521AE95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" t="23755" r="1421" b="42491"/>
          <a:stretch/>
        </p:blipFill>
        <p:spPr>
          <a:xfrm>
            <a:off x="5366149" y="0"/>
            <a:ext cx="6308067" cy="3153988"/>
          </a:xfrm>
          <a:custGeom>
            <a:avLst/>
            <a:gdLst>
              <a:gd name="connsiteX0" fmla="*/ 0 w 6182399"/>
              <a:gd name="connsiteY0" fmla="*/ 0 h 3091200"/>
              <a:gd name="connsiteX1" fmla="*/ 6182399 w 6182399"/>
              <a:gd name="connsiteY1" fmla="*/ 0 h 3091200"/>
              <a:gd name="connsiteX2" fmla="*/ 5570427 w 6182399"/>
              <a:gd name="connsiteY2" fmla="*/ 611971 h 3091200"/>
              <a:gd name="connsiteX3" fmla="*/ 3091199 w 6182399"/>
              <a:gd name="connsiteY3" fmla="*/ 3091200 h 3091200"/>
              <a:gd name="connsiteX4" fmla="*/ 697551 w 6182399"/>
              <a:gd name="connsiteY4" fmla="*/ 697551 h 309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82399" h="3091200">
                <a:moveTo>
                  <a:pt x="0" y="0"/>
                </a:moveTo>
                <a:lnTo>
                  <a:pt x="6182399" y="0"/>
                </a:lnTo>
                <a:lnTo>
                  <a:pt x="5570427" y="611971"/>
                </a:lnTo>
                <a:lnTo>
                  <a:pt x="3091199" y="3091200"/>
                </a:lnTo>
                <a:lnTo>
                  <a:pt x="697551" y="697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56423096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60414D-68B7-460D-8F96-9A8669C0D8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663879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60414D-68B7-460D-8F96-9A8669C0D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6BE09B-5440-496D-BB59-D677F61558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510285-EBBA-42AF-B2FC-DAB935014270}"/>
              </a:ext>
            </a:extLst>
          </p:cNvPr>
          <p:cNvSpPr/>
          <p:nvPr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794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C29B239-9E09-4F6E-93E0-71C192754F3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96" r="-2472"/>
          <a:stretch/>
        </p:blipFill>
        <p:spPr>
          <a:xfrm>
            <a:off x="8204202" y="1157635"/>
            <a:ext cx="3544471" cy="4741616"/>
          </a:xfrm>
          <a:prstGeom prst="rect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C0B1310-EBA2-4546-BB11-440D5FBE0C14}"/>
              </a:ext>
            </a:extLst>
          </p:cNvPr>
          <p:cNvSpPr/>
          <p:nvPr/>
        </p:nvSpPr>
        <p:spPr>
          <a:xfrm>
            <a:off x="4321" y="950484"/>
            <a:ext cx="12187680" cy="5313553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3000"/>
                </a:schemeClr>
              </a:gs>
              <a:gs pos="100000">
                <a:schemeClr val="accent3"/>
              </a:gs>
            </a:gsLst>
            <a:lin ang="10800000" scaled="1"/>
            <a:tileRect/>
          </a:gra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588289-2413-4609-AC40-DB9D1DEE080A}"/>
              </a:ext>
            </a:extLst>
          </p:cNvPr>
          <p:cNvSpPr>
            <a:spLocks/>
          </p:cNvSpPr>
          <p:nvPr/>
        </p:nvSpPr>
        <p:spPr>
          <a:xfrm>
            <a:off x="4321" y="6101660"/>
            <a:ext cx="12187680" cy="53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222185" y="2293543"/>
            <a:ext cx="7323053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22185" y="3783153"/>
            <a:ext cx="732305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222185" y="5594104"/>
            <a:ext cx="732305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cument type |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82B9EC-6874-415A-B664-E290105921D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6" r="-16666"/>
          <a:stretch/>
        </p:blipFill>
        <p:spPr>
          <a:xfrm>
            <a:off x="11236812" y="176671"/>
            <a:ext cx="794612" cy="63568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3410A6C-3E96-4764-949B-69305DA17824}"/>
              </a:ext>
            </a:extLst>
          </p:cNvPr>
          <p:cNvSpPr>
            <a:spLocks/>
          </p:cNvSpPr>
          <p:nvPr/>
        </p:nvSpPr>
        <p:spPr>
          <a:xfrm>
            <a:off x="4321" y="1049365"/>
            <a:ext cx="12187680" cy="53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4" name="sticker">
            <a:extLst>
              <a:ext uri="{FF2B5EF4-FFF2-40B4-BE49-F238E27FC236}">
                <a16:creationId xmlns:a16="http://schemas.microsoft.com/office/drawing/2014/main" id="{DE2ECB66-7BCC-47F2-BB13-515B9C0C2278}"/>
              </a:ext>
            </a:extLst>
          </p:cNvPr>
          <p:cNvGrpSpPr/>
          <p:nvPr/>
        </p:nvGrpSpPr>
        <p:grpSpPr bwMode="auto">
          <a:xfrm>
            <a:off x="8036862" y="6488201"/>
            <a:ext cx="3994562" cy="193128"/>
            <a:chOff x="5741678" y="285750"/>
            <a:chExt cx="2995922" cy="193127"/>
          </a:xfrm>
        </p:grpSpPr>
        <p:sp>
          <p:nvSpPr>
            <p:cNvPr id="15" name="StickerRectangle">
              <a:extLst>
                <a:ext uri="{FF2B5EF4-FFF2-40B4-BE49-F238E27FC236}">
                  <a16:creationId xmlns:a16="http://schemas.microsoft.com/office/drawing/2014/main" id="{7BB78260-2409-4E92-A96C-290D1B809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678" y="285750"/>
              <a:ext cx="2995922" cy="1931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1050" baseline="0">
                  <a:solidFill>
                    <a:srgbClr val="FF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lang="en-US" sz="1050" baseline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– PROPRIETARY, CONFIDENTIAL, PRE-DECISIONAL</a:t>
              </a:r>
            </a:p>
          </p:txBody>
        </p:sp>
        <p:cxnSp>
          <p:nvCxnSpPr>
            <p:cNvPr id="16" name="AutoShape 31">
              <a:extLst>
                <a:ext uri="{FF2B5EF4-FFF2-40B4-BE49-F238E27FC236}">
                  <a16:creationId xmlns:a16="http://schemas.microsoft.com/office/drawing/2014/main" id="{DFEF9400-E67A-465D-BBC5-EDD7B915EDEE}"/>
                </a:ext>
              </a:extLst>
            </p:cNvPr>
            <p:cNvCxnSpPr>
              <a:cxnSpLocks noChangeShapeType="1"/>
              <a:stCxn id="15" idx="2"/>
              <a:endCxn id="15" idx="4"/>
            </p:cNvCxnSpPr>
            <p:nvPr/>
          </p:nvCxnSpPr>
          <p:spPr bwMode="auto">
            <a:xfrm>
              <a:off x="5741678" y="285750"/>
              <a:ext cx="0" cy="19312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AutoShape 32">
              <a:extLst>
                <a:ext uri="{FF2B5EF4-FFF2-40B4-BE49-F238E27FC236}">
                  <a16:creationId xmlns:a16="http://schemas.microsoft.com/office/drawing/2014/main" id="{EBA3B60F-435A-4C1B-8A6B-65C132354486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5741678" y="478877"/>
              <a:ext cx="299592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2CCBE273-7441-4187-9338-F91608623F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13" y="131261"/>
            <a:ext cx="2184071" cy="73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146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4938619B-E2E9-4FFA-8186-FAC9218A4A77}"/>
              </a:ext>
            </a:extLst>
          </p:cNvPr>
          <p:cNvSpPr/>
          <p:nvPr/>
        </p:nvSpPr>
        <p:spPr>
          <a:xfrm>
            <a:off x="1" y="1"/>
            <a:ext cx="12191999" cy="6858000"/>
          </a:xfrm>
          <a:prstGeom prst="rect">
            <a:avLst/>
          </a:prstGeom>
          <a:gradFill>
            <a:gsLst>
              <a:gs pos="100000">
                <a:schemeClr val="tx2">
                  <a:alpha val="30000"/>
                </a:schemeClr>
              </a:gs>
              <a:gs pos="49000">
                <a:srgbClr val="0070A2">
                  <a:alpha val="60000"/>
                </a:srgbClr>
              </a:gs>
              <a:gs pos="10000">
                <a:schemeClr val="accent4">
                  <a:alpha val="6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12488" y="2518997"/>
            <a:ext cx="6018285" cy="2006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12488" y="4639898"/>
            <a:ext cx="4254074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5974593C-FC9F-4C8A-8EDA-51699DF0BAFA}"/>
              </a:ext>
            </a:extLst>
          </p:cNvPr>
          <p:cNvSpPr/>
          <p:nvPr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6D5EB51-637A-42FF-93C2-2C0356B5858F}"/>
              </a:ext>
            </a:extLst>
          </p:cNvPr>
          <p:cNvGrpSpPr/>
          <p:nvPr/>
        </p:nvGrpSpPr>
        <p:grpSpPr>
          <a:xfrm>
            <a:off x="6795255" y="-830595"/>
            <a:ext cx="6235461" cy="8430219"/>
            <a:chOff x="6172201" y="-898208"/>
            <a:chExt cx="7620000" cy="10302239"/>
          </a:xfrm>
        </p:grpSpPr>
        <p:sp>
          <p:nvSpPr>
            <p:cNvPr id="13" name="Diamond 12">
              <a:extLst>
                <a:ext uri="{FF2B5EF4-FFF2-40B4-BE49-F238E27FC236}">
                  <a16:creationId xmlns:a16="http://schemas.microsoft.com/office/drawing/2014/main" id="{D1F9291F-2A24-44B6-A5C8-081541BC6E72}"/>
                </a:ext>
              </a:extLst>
            </p:cNvPr>
            <p:cNvSpPr/>
            <p:nvPr/>
          </p:nvSpPr>
          <p:spPr>
            <a:xfrm>
              <a:off x="8823961" y="1776411"/>
              <a:ext cx="4968240" cy="4968240"/>
            </a:xfrm>
            <a:prstGeom prst="diamond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5" name="Diamond 14">
              <a:extLst>
                <a:ext uri="{FF2B5EF4-FFF2-40B4-BE49-F238E27FC236}">
                  <a16:creationId xmlns:a16="http://schemas.microsoft.com/office/drawing/2014/main" id="{B14089A9-3213-4D72-8D79-07EE32669CB2}"/>
                </a:ext>
              </a:extLst>
            </p:cNvPr>
            <p:cNvSpPr/>
            <p:nvPr/>
          </p:nvSpPr>
          <p:spPr>
            <a:xfrm>
              <a:off x="6172201" y="-898208"/>
              <a:ext cx="4968240" cy="4968240"/>
            </a:xfrm>
            <a:prstGeom prst="diamond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16" name="Diamond 15">
              <a:extLst>
                <a:ext uri="{FF2B5EF4-FFF2-40B4-BE49-F238E27FC236}">
                  <a16:creationId xmlns:a16="http://schemas.microsoft.com/office/drawing/2014/main" id="{B9C879A2-055D-48ED-AEC5-CF04DFEA9A9A}"/>
                </a:ext>
              </a:extLst>
            </p:cNvPr>
            <p:cNvSpPr/>
            <p:nvPr/>
          </p:nvSpPr>
          <p:spPr>
            <a:xfrm>
              <a:off x="6172201" y="4435791"/>
              <a:ext cx="4968240" cy="4968240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0240379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A9F3FB34-7ACF-4158-AD78-AA668C3011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" r="19459" b="30194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6FD7A2-93A9-405A-989B-15DB6E5CF0FF}"/>
              </a:ext>
            </a:extLst>
          </p:cNvPr>
          <p:cNvSpPr/>
          <p:nvPr/>
        </p:nvSpPr>
        <p:spPr>
          <a:xfrm>
            <a:off x="1" y="1"/>
            <a:ext cx="1219199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4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28038" y="2328006"/>
            <a:ext cx="4573730" cy="2006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400" b="1" i="0" cap="none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28038" y="4360006"/>
            <a:ext cx="4254074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C7F9BDD-7BF0-452F-B291-5BEA7995727F}"/>
              </a:ext>
            </a:extLst>
          </p:cNvPr>
          <p:cNvSpPr>
            <a:spLocks/>
          </p:cNvSpPr>
          <p:nvPr/>
        </p:nvSpPr>
        <p:spPr>
          <a:xfrm rot="13500000">
            <a:off x="-1265973" y="2163007"/>
            <a:ext cx="2531946" cy="2531984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3203575-C959-44AD-8106-94D9374630B1}"/>
              </a:ext>
            </a:extLst>
          </p:cNvPr>
          <p:cNvSpPr/>
          <p:nvPr/>
        </p:nvSpPr>
        <p:spPr>
          <a:xfrm>
            <a:off x="6176612" y="1642962"/>
            <a:ext cx="6381500" cy="3578365"/>
          </a:xfrm>
          <a:custGeom>
            <a:avLst/>
            <a:gdLst>
              <a:gd name="connsiteX0" fmla="*/ 0 w 6254369"/>
              <a:gd name="connsiteY0" fmla="*/ 0 h 3507129"/>
              <a:gd name="connsiteX1" fmla="*/ 6254369 w 6254369"/>
              <a:gd name="connsiteY1" fmla="*/ 0 h 3507129"/>
              <a:gd name="connsiteX2" fmla="*/ 6254369 w 6254369"/>
              <a:gd name="connsiteY2" fmla="*/ 3507129 h 3507129"/>
              <a:gd name="connsiteX3" fmla="*/ 0 w 6254369"/>
              <a:gd name="connsiteY3" fmla="*/ 3507129 h 3507129"/>
              <a:gd name="connsiteX4" fmla="*/ 0 w 6254369"/>
              <a:gd name="connsiteY4" fmla="*/ 3498898 h 3507129"/>
              <a:gd name="connsiteX5" fmla="*/ 1746485 w 6254369"/>
              <a:gd name="connsiteY5" fmla="*/ 1752413 h 3507129"/>
              <a:gd name="connsiteX6" fmla="*/ 0 w 6254369"/>
              <a:gd name="connsiteY6" fmla="*/ 5928 h 3507129"/>
              <a:gd name="connsiteX7" fmla="*/ 0 w 6254369"/>
              <a:gd name="connsiteY7" fmla="*/ 0 h 350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54369" h="3507129">
                <a:moveTo>
                  <a:pt x="0" y="0"/>
                </a:moveTo>
                <a:lnTo>
                  <a:pt x="6254369" y="0"/>
                </a:lnTo>
                <a:lnTo>
                  <a:pt x="6254369" y="3507129"/>
                </a:lnTo>
                <a:lnTo>
                  <a:pt x="0" y="3507129"/>
                </a:lnTo>
                <a:lnTo>
                  <a:pt x="0" y="3498898"/>
                </a:lnTo>
                <a:lnTo>
                  <a:pt x="1746485" y="1752413"/>
                </a:lnTo>
                <a:lnTo>
                  <a:pt x="0" y="592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200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198951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84074" y="2514600"/>
            <a:ext cx="6212038" cy="2006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4400" b="1" i="0" cap="none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84073" y="4546601"/>
            <a:ext cx="6212038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EB5704-3C92-4CFB-9F02-9B3474CC089E}"/>
              </a:ext>
            </a:extLst>
          </p:cNvPr>
          <p:cNvSpPr/>
          <p:nvPr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81BA5C6B-9E0B-42AA-B1AC-60A81662DB64}"/>
              </a:ext>
            </a:extLst>
          </p:cNvPr>
          <p:cNvSpPr/>
          <p:nvPr/>
        </p:nvSpPr>
        <p:spPr>
          <a:xfrm>
            <a:off x="8772278" y="-306575"/>
            <a:ext cx="7471262" cy="7471152"/>
          </a:xfrm>
          <a:prstGeom prst="diamond">
            <a:avLst/>
          </a:prstGeom>
          <a:blipFill>
            <a:blip r:embed="rId5"/>
            <a:stretch>
              <a:fillRect l="-34727" t="1316" r="-16059" b="10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Diamond 14">
            <a:extLst>
              <a:ext uri="{FF2B5EF4-FFF2-40B4-BE49-F238E27FC236}">
                <a16:creationId xmlns:a16="http://schemas.microsoft.com/office/drawing/2014/main" id="{3E9E5CB0-93BB-4F15-B647-6D9F07D7DA5F}"/>
              </a:ext>
            </a:extLst>
          </p:cNvPr>
          <p:cNvSpPr/>
          <p:nvPr/>
        </p:nvSpPr>
        <p:spPr>
          <a:xfrm>
            <a:off x="4784551" y="-4317163"/>
            <a:ext cx="7471262" cy="7471152"/>
          </a:xfrm>
          <a:prstGeom prst="diamond">
            <a:avLst/>
          </a:prstGeom>
          <a:blipFill>
            <a:blip r:embed="rId6"/>
            <a:stretch>
              <a:fillRect l="1281" t="39900" r="-2143" b="-85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83188235-7FD1-4F4F-8210-FAC6B8DD0085}"/>
              </a:ext>
            </a:extLst>
          </p:cNvPr>
          <p:cNvSpPr/>
          <p:nvPr/>
        </p:nvSpPr>
        <p:spPr>
          <a:xfrm>
            <a:off x="4784551" y="3704012"/>
            <a:ext cx="7471262" cy="7471152"/>
          </a:xfrm>
          <a:prstGeom prst="diamond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296440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508BDA9-2CC5-4441-9CB2-F421A72E49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1619142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08BDA9-2CC5-4441-9CB2-F421A72E4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EF8EBBF-C44C-4166-A244-1D1D605400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0B26E0-891E-4B4A-AE1A-C18AEFD16AB1}"/>
              </a:ext>
            </a:extLst>
          </p:cNvPr>
          <p:cNvSpPr/>
          <p:nvPr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723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60414D-68B7-460D-8F96-9A8669C0D8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663879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60414D-68B7-460D-8F96-9A8669C0D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6BE09B-5440-496D-BB59-D677F61558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510285-EBBA-42AF-B2FC-DAB935014270}"/>
              </a:ext>
            </a:extLst>
          </p:cNvPr>
          <p:cNvSpPr/>
          <p:nvPr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944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285A3-2638-46B6-96BD-83B92B2EF9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D2334C-364A-47E9-B2D3-3BE431E8A0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2926B2-6AA0-4F64-83F3-9D0F8C4C4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26BBBD-9AB1-434B-A163-BBAF947A8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205E8B-B46A-4840-8251-B9B7D53AA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99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736F7F-F0B3-4302-B4EB-0D4B1576B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8A1D9C-5918-47D2-A5B0-6EEDBE3D17E0}"/>
              </a:ext>
            </a:extLst>
          </p:cNvPr>
          <p:cNvSpPr/>
          <p:nvPr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657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ghlight Layout_EDA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B44F018-BC16-4C0A-B11A-D364BD0DF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B44F018-BC16-4C0A-B11A-D364BD0DF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9622662-73F2-4181-AD94-25368B3CACC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030" y="329440"/>
            <a:ext cx="11725484" cy="314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0917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166364"/>
            <a:ext cx="11471565" cy="1739347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0000"/>
              </a:lnSpc>
              <a:defRPr sz="6000" spc="1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996250"/>
            <a:ext cx="9144000" cy="1309255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9905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460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652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5344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391" y="2011680"/>
            <a:ext cx="4754880" cy="420624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8285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7008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07008" y="2656566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1230" y="1913470"/>
            <a:ext cx="4754880" cy="743094"/>
          </a:xfrm>
        </p:spPr>
        <p:txBody>
          <a:bodyPr anchor="ctr">
            <a:normAutofit/>
          </a:bodyPr>
          <a:lstStyle>
            <a:lvl1pPr marL="0" indent="0">
              <a:buNone/>
              <a:defRPr sz="21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31230" y="2656564"/>
            <a:ext cx="4754880" cy="35661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685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1840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0728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07008" y="2120054"/>
            <a:ext cx="6126480" cy="4114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89023" y="2147486"/>
            <a:ext cx="3200400" cy="3432319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59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7F83B-728F-4480-BFA4-5371513F20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FB68FC-1FF8-4283-A872-E59E96C9B6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588E5-6D15-4B97-9AED-64E833DB7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A6E256-5F56-48E1-9862-8A1037644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384EBC-D072-4141-83DD-213D211BB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4182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80160" y="2211494"/>
            <a:ext cx="6126480" cy="3931920"/>
          </a:xfrm>
          <a:solidFill>
            <a:schemeClr val="tx2">
              <a:lumMod val="60000"/>
              <a:lumOff val="40000"/>
            </a:schemeClr>
          </a:solidFill>
        </p:spPr>
        <p:txBody>
          <a:bodyPr tIns="365760" anchor="t"/>
          <a:lstStyle>
            <a:lvl1pPr marL="0" indent="0" algn="ctr">
              <a:buNone/>
              <a:defRPr sz="32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790688" y="2150621"/>
            <a:ext cx="3200400" cy="3429000"/>
          </a:xfrm>
        </p:spPr>
        <p:txBody>
          <a:bodyPr>
            <a:normAutofit/>
          </a:bodyPr>
          <a:lstStyle>
            <a:lvl1pPr marL="0" indent="0">
              <a:lnSpc>
                <a:spcPct val="95000"/>
              </a:lnSpc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494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5766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019312" y="0"/>
            <a:ext cx="2743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0624" y="274638"/>
            <a:ext cx="2402380" cy="5897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274638"/>
            <a:ext cx="7973291" cy="5897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22854"/>
            <a:ext cx="2743196" cy="365125"/>
          </a:xfrm>
        </p:spPr>
        <p:txBody>
          <a:bodyPr/>
          <a:lstStyle/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76135" y="6422854"/>
            <a:ext cx="427966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73048" y="6422854"/>
            <a:ext cx="879759" cy="365125"/>
          </a:xfrm>
        </p:spPr>
        <p:txBody>
          <a:bodyPr/>
          <a:lstStyle/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997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6B40E2-9C83-4289-9714-8CC1ABD89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BE70C-2AFF-4A25-9CC0-8D0C3B68E6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C08D5E-8A20-4B0E-A5F8-6BD05E013D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5F2AC3-BD6E-4887-9513-F97E2A452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ECB55A-7061-4E29-8192-6F066DF0C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797F19-4D3B-45BE-A4AF-0C4EF9ED9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579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DC6FD-9C9E-4EF6-96FC-CFF0EB2BD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357AB7-5BB9-4C76-AEB8-5FB81CE37C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2C77C-1138-4935-A653-6107ACC5A9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83F6EE-B823-477F-85C5-0C3EAD3C75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B10269-4E98-46D7-A8FE-DAA715AB05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82DEC5-78D3-4345-B574-0297439A4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D432B1-2EAA-4757-BDC7-B35C86CB43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35C96D-E52E-484C-AEB2-57EF73203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9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630D2-EBEB-4494-A472-81B37F5B3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42F858-2092-4FEE-968A-A815CD24D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F333C1-2B45-4737-BF62-1992E708D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1653F-2D5C-40D9-9B8A-AD8CA7953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451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5B7FA8-5861-4192-B0BE-C74994E9E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22DE05-330B-46E8-A089-38275EA38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6BC250-4DC8-47FB-949C-860A8C4E2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6581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B1C67-EF9A-497B-A44F-7A0FA4EA8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701324-CA62-4C8F-AE79-F30373388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683661-36E9-4AEF-BBA5-41B8CE4429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B4217A-FA62-4DEA-80BF-16BCE540BE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D58BDF-A60C-45B5-B498-B2AD224E9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86F6BE-5DE3-4C44-B5F0-E3228A8C1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151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4C7F7-67AD-4869-B934-9F1187893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A4AACE-775F-44E1-BE85-14A266D236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53CE7F-A101-4F70-8733-107B2E12F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A161D3-417C-44C0-99BE-283A73838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0DF151-AB05-4488-A9BE-23B1FD8D8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16F40F-063C-4F53-98D7-675290456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253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oleObject" Target="../embeddings/oleObject3.bin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tags" Target="../tags/tag3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tags" Target="../tags/tag32.xml"/><Relationship Id="rId40" Type="http://schemas.openxmlformats.org/officeDocument/2006/relationships/image" Target="../media/image5.emf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E7F794-1BAE-41DF-9953-0A6B90978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4A476C-CA93-40F7-9F77-76957F275C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F635A-AC2D-48E3-BEE8-A06466466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2021DD-92C8-4BFA-806F-F62BFCABD46E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C390B-474D-46FE-BF70-962E802B2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6D67A-62D9-48DC-B852-1A1DAC8C6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C05050-E162-4CDD-BE71-AA86BB54BE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33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0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9673065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A409AE-2BF5-4A9A-A7FD-80BA5DB33BE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8" y="29056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8635" y="77303"/>
            <a:ext cx="385999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8" y="566138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4031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741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09535" indent="-609535" defTabSz="895255">
              <a:tabLst>
                <a:tab pos="630171" algn="l"/>
              </a:tabLst>
            </a:pPr>
            <a:r>
              <a:rPr lang="en-US" sz="800" baseline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29246" y="2606569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729245" y="1895613"/>
            <a:ext cx="5801188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id="{2C790296-416B-4243-BEFE-22AF5A6C2F40}"/>
              </a:ext>
            </a:extLst>
          </p:cNvPr>
          <p:cNvGrpSpPr/>
          <p:nvPr/>
        </p:nvGrpSpPr>
        <p:grpSpPr bwMode="gray">
          <a:xfrm>
            <a:off x="11517364" y="291557"/>
            <a:ext cx="370101" cy="153874"/>
            <a:chOff x="8468741" y="285750"/>
            <a:chExt cx="272034" cy="150811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68741" y="285750"/>
              <a:ext cx="272034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8741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8741" y="436561"/>
              <a:ext cx="27203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09CF1AE-18B5-4A05-968F-8E22AD4154C8}"/>
              </a:ext>
            </a:extLst>
          </p:cNvPr>
          <p:cNvGrpSpPr/>
          <p:nvPr/>
        </p:nvGrpSpPr>
        <p:grpSpPr>
          <a:xfrm>
            <a:off x="10263061" y="277887"/>
            <a:ext cx="1302804" cy="777012"/>
            <a:chOff x="7607284" y="279400"/>
            <a:chExt cx="957595" cy="761545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279400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546100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259" y="825501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id="{3152D7CE-B5AF-48C9-8163-3B00CA962908}"/>
              </a:ext>
            </a:extLst>
          </p:cNvPr>
          <p:cNvGrpSpPr/>
          <p:nvPr/>
        </p:nvGrpSpPr>
        <p:grpSpPr>
          <a:xfrm>
            <a:off x="10682064" y="277992"/>
            <a:ext cx="883806" cy="1049129"/>
            <a:chOff x="5894005" y="919828"/>
            <a:chExt cx="649620" cy="1028245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919828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189703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461166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005" y="1732629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id="{7A8C3989-5146-471B-A276-90994769CB0C}"/>
              </a:ext>
            </a:extLst>
          </p:cNvPr>
          <p:cNvGrpSpPr/>
          <p:nvPr/>
        </p:nvGrpSpPr>
        <p:grpSpPr>
          <a:xfrm>
            <a:off x="10591350" y="277477"/>
            <a:ext cx="974517" cy="1343754"/>
            <a:chOff x="5894005" y="2695123"/>
            <a:chExt cx="716295" cy="1317003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696542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2974156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248596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521448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680" y="3796682"/>
              <a:ext cx="395620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id="{025597A3-7585-4D09-8EDC-160D256F7168}"/>
              </a:ext>
            </a:extLst>
          </p:cNvPr>
          <p:cNvGrpSpPr/>
          <p:nvPr/>
        </p:nvGrpSpPr>
        <p:grpSpPr>
          <a:xfrm>
            <a:off x="9455282" y="2192"/>
            <a:ext cx="2445661" cy="153874"/>
            <a:chOff x="6903354" y="285750"/>
            <a:chExt cx="1834246" cy="153873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03354" y="285750"/>
              <a:ext cx="1834246" cy="1538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903354" y="285750"/>
              <a:ext cx="0" cy="15387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903354" y="439623"/>
              <a:ext cx="183424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763166" y="6640468"/>
            <a:ext cx="124305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US" sz="800" baseline="0">
              <a:solidFill>
                <a:srgbClr val="80808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61" name="sticker">
            <a:extLst>
              <a:ext uri="{FF2B5EF4-FFF2-40B4-BE49-F238E27FC236}">
                <a16:creationId xmlns:a16="http://schemas.microsoft.com/office/drawing/2014/main" id="{5B908D66-F0DE-4BFE-9445-75BBE30D2E15}"/>
              </a:ext>
            </a:extLst>
          </p:cNvPr>
          <p:cNvGrpSpPr/>
          <p:nvPr/>
        </p:nvGrpSpPr>
        <p:grpSpPr bwMode="auto">
          <a:xfrm>
            <a:off x="7458001" y="6508806"/>
            <a:ext cx="3994562" cy="193128"/>
            <a:chOff x="5741678" y="285750"/>
            <a:chExt cx="2995922" cy="193127"/>
          </a:xfrm>
        </p:grpSpPr>
        <p:sp>
          <p:nvSpPr>
            <p:cNvPr id="67" name="StickerRectangle">
              <a:extLst>
                <a:ext uri="{FF2B5EF4-FFF2-40B4-BE49-F238E27FC236}">
                  <a16:creationId xmlns:a16="http://schemas.microsoft.com/office/drawing/2014/main" id="{A99F1EEE-FE2C-4BBB-8174-6AE1C4A6B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678" y="285750"/>
              <a:ext cx="2995922" cy="1931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1050" baseline="0">
                  <a:solidFill>
                    <a:srgbClr val="FF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lang="en-US" sz="1050" baseline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– PROPRIETARY, CONFIDENTIAL, PRE-DECISIONAL</a:t>
              </a:r>
            </a:p>
          </p:txBody>
        </p:sp>
        <p:cxnSp>
          <p:nvCxnSpPr>
            <p:cNvPr id="68" name="AutoShape 31">
              <a:extLst>
                <a:ext uri="{FF2B5EF4-FFF2-40B4-BE49-F238E27FC236}">
                  <a16:creationId xmlns:a16="http://schemas.microsoft.com/office/drawing/2014/main" id="{8F403D47-11D1-45FA-A72E-2D2E00710ADA}"/>
                </a:ext>
              </a:extLst>
            </p:cNvPr>
            <p:cNvCxnSpPr>
              <a:cxnSpLocks noChangeShapeType="1"/>
              <a:stCxn id="67" idx="2"/>
              <a:endCxn id="67" idx="4"/>
            </p:cNvCxnSpPr>
            <p:nvPr/>
          </p:nvCxnSpPr>
          <p:spPr bwMode="auto">
            <a:xfrm>
              <a:off x="5741678" y="285750"/>
              <a:ext cx="0" cy="19312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32">
              <a:extLst>
                <a:ext uri="{FF2B5EF4-FFF2-40B4-BE49-F238E27FC236}">
                  <a16:creationId xmlns:a16="http://schemas.microsoft.com/office/drawing/2014/main" id="{0AD1F0CE-729B-4AE9-8C9E-806D8918A27F}"/>
                </a:ext>
              </a:extLst>
            </p:cNvPr>
            <p:cNvCxnSpPr>
              <a:cxnSpLocks noChangeShapeType="1"/>
              <a:stCxn id="67" idx="4"/>
              <a:endCxn id="67" idx="6"/>
            </p:cNvCxnSpPr>
            <p:nvPr/>
          </p:nvCxnSpPr>
          <p:spPr bwMode="auto">
            <a:xfrm>
              <a:off x="5741678" y="478877"/>
              <a:ext cx="299592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99711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84" r:id="rId8"/>
  </p:sldLayoutIdLst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7" algn="l"/>
        </a:tabLst>
        <a:defRPr sz="2041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2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5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6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2pPr>
      <a:lvl3pPr marL="457152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3pPr>
      <a:lvl4pPr marL="614298" indent="-155559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4pPr>
      <a:lvl5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5pPr>
      <a:lvl6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83" y="176109"/>
            <a:ext cx="12188952" cy="16459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02919" y="284176"/>
            <a:ext cx="9784080" cy="15087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2919" y="2011680"/>
            <a:ext cx="9784080" cy="4206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02266" y="6422854"/>
            <a:ext cx="3000894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fld id="{3C04E684-10F4-4CC3-A0B9-F03AA7BE37CF}" type="datetimeFigureOut">
              <a:rPr lang="en-US" smtClean="0"/>
              <a:t>3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96471" y="6422854"/>
            <a:ext cx="50444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58927" y="6422854"/>
            <a:ext cx="946264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51845F5A-061D-4825-9AE9-D7794091C6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288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tx1"/>
        </a:buClr>
        <a:buFont typeface="Wingdings" pitchFamily="2" charset="2"/>
        <a:buChar char="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86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846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718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9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062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/>
        </a:buClr>
        <a:buFont typeface="Wingdings" pitchFamily="2" charset="2"/>
        <a:buChar char="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7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5" Type="http://schemas.openxmlformats.org/officeDocument/2006/relationships/hyperlink" Target="https://www.nj.gov/windport/" TargetMode="Externa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5F7FC62-7513-4395-B622-948100A906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5F7FC62-7513-4395-B622-948100A90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31A1C23-CCCA-43E7-8EDF-2C95C005F9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4400" b="1">
              <a:solidFill>
                <a:srgbClr val="000000"/>
              </a:solidFill>
              <a:latin typeface="Franklin Gothic Demi Cond" panose="020B0706030402020204" pitchFamily="34" charset="0"/>
              <a:ea typeface="ＭＳ Ｐゴシック" panose="020B0600070205080204" pitchFamily="34" charset="-128"/>
              <a:cs typeface="Calibri" panose="020F0502020204030204" pitchFamily="34" charset="0"/>
              <a:sym typeface="Franklin Gothic Demi Cond" panose="020B07060304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E83DF7-730B-4566-9E87-9D543BB945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505" y="5462900"/>
            <a:ext cx="2543734" cy="853057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266645BB-6CA1-4714-8980-AB177083D1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513" y="269329"/>
            <a:ext cx="4200634" cy="420063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F12C54-ACDA-45DD-9547-1E7F4F7A8B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8409" y="4049145"/>
            <a:ext cx="6510842" cy="1297151"/>
          </a:xfrm>
        </p:spPr>
        <p:txBody>
          <a:bodyPr vert="horz" lIns="0" tIns="0" rIns="0" bIns="0" rtlCol="0" anchor="t">
            <a:noAutofit/>
          </a:bodyPr>
          <a:lstStyle/>
          <a:p>
            <a:pPr algn="ctr"/>
            <a:r>
              <a:rPr lang="en-US" sz="2400" dirty="0"/>
              <a:t>Project Overview for </a:t>
            </a:r>
          </a:p>
          <a:p>
            <a:pPr algn="ctr"/>
            <a:r>
              <a:rPr lang="en-US" sz="2400" dirty="0">
                <a:cs typeface="Calibri"/>
              </a:rPr>
              <a:t>Heavy Civil Engineering &amp; Design</a:t>
            </a:r>
          </a:p>
          <a:p>
            <a:pPr algn="ctr"/>
            <a:r>
              <a:rPr lang="en-US" sz="2400" dirty="0">
                <a:cs typeface="Calibri"/>
              </a:rPr>
              <a:t>Request For Qualifications (RFQ)</a:t>
            </a:r>
          </a:p>
          <a:p>
            <a:pPr algn="ctr"/>
            <a:endParaRPr lang="en-US" sz="2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15380610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406896D-DED2-4B69-ACA2-0362484E4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" y="290513"/>
            <a:ext cx="11725275" cy="492443"/>
          </a:xfrm>
        </p:spPr>
        <p:txBody>
          <a:bodyPr/>
          <a:lstStyle/>
          <a:p>
            <a:r>
              <a:rPr lang="en-US" sz="3200" dirty="0"/>
              <a:t>Potential Engineering Project: </a:t>
            </a:r>
            <a:r>
              <a:rPr lang="en-US" sz="3200" dirty="0">
                <a:solidFill>
                  <a:srgbClr val="0078AE"/>
                </a:solidFill>
              </a:rPr>
              <a:t>Sewer Treatment Plan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7EB5E8-C418-42EF-BD4D-080910F1FC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0736" y="1703070"/>
            <a:ext cx="7039774" cy="358084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7964F4-FD1E-4326-999A-F88DCB94CF72}"/>
              </a:ext>
            </a:extLst>
          </p:cNvPr>
          <p:cNvSpPr txBox="1"/>
          <p:nvPr/>
        </p:nvSpPr>
        <p:spPr>
          <a:xfrm>
            <a:off x="161988" y="983228"/>
            <a:ext cx="4498748" cy="4731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hase 2 of the NJWP will require a sewage treatment plant (STP) to dispose of wastewater generated by the manufacturing facilities at the Port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JEDA’s current assumption is that wastewater solution will be tied into the existing PSEG STP that is part of the Hope Creek Generating Station just south of Parcel A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development of a wastewater solution would likely be phased, initially tying into the PSEG STP and then introducing an additional STP on land adjacent to the current one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2FDE60-5234-4DA8-994E-AC18AB5851CB}"/>
              </a:ext>
            </a:extLst>
          </p:cNvPr>
          <p:cNvSpPr txBox="1"/>
          <p:nvPr/>
        </p:nvSpPr>
        <p:spPr>
          <a:xfrm>
            <a:off x="161988" y="5715036"/>
            <a:ext cx="11633772" cy="1218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expansion of the current PSEG wastewater solution would rely on the current PSEG sewer service area, permit and outfall rather than permitting a new sewer service area and outfall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odification or submission of new permits will be required. Support from the engineering firm will be needed.</a:t>
            </a:r>
          </a:p>
        </p:txBody>
      </p:sp>
    </p:spTree>
    <p:extLst>
      <p:ext uri="{BB962C8B-B14F-4D97-AF65-F5344CB8AC3E}">
        <p14:creationId xmlns:p14="http://schemas.microsoft.com/office/powerpoint/2010/main" val="1536074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45041-A933-48C4-8BD8-73750090AD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8" y="290566"/>
            <a:ext cx="11725484" cy="492443"/>
          </a:xfrm>
        </p:spPr>
        <p:txBody>
          <a:bodyPr/>
          <a:lstStyle/>
          <a:p>
            <a:r>
              <a:rPr lang="en-US" sz="3200" dirty="0"/>
              <a:t>Potential Engineering Project: Logistics Pier</a:t>
            </a:r>
          </a:p>
        </p:txBody>
      </p:sp>
      <p:pic>
        <p:nvPicPr>
          <p:cNvPr id="12291" name="Picture 2">
            <a:extLst>
              <a:ext uri="{FF2B5EF4-FFF2-40B4-BE49-F238E27FC236}">
                <a16:creationId xmlns:a16="http://schemas.microsoft.com/office/drawing/2014/main" id="{A141264D-F49B-457E-B036-236A5C803B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71" y="2862208"/>
            <a:ext cx="5673916" cy="370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B1935EB-A0A2-40AF-9C86-050956388F2C}"/>
              </a:ext>
            </a:extLst>
          </p:cNvPr>
          <p:cNvSpPr txBox="1"/>
          <p:nvPr/>
        </p:nvSpPr>
        <p:spPr>
          <a:xfrm>
            <a:off x="347663" y="944443"/>
            <a:ext cx="11496842" cy="2276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NJEDA is considering creating a temporary pier to receive piles and other materials during Phase 2 construction to reduce over the road traffic. 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 conceptual arrangement is being permitted as part of Phase 2 development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ossibility that this structure could exceed temporary status and potential to evaluate for permanent uses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939" dirty="0"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C909D2-ED09-4E43-BDD0-6402ECCAC6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1887" y="2862207"/>
            <a:ext cx="6147110" cy="37052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4FFF7E0-486B-4691-9923-0000A0B9E4C2}"/>
              </a:ext>
            </a:extLst>
          </p:cNvPr>
          <p:cNvSpPr txBox="1"/>
          <p:nvPr/>
        </p:nvSpPr>
        <p:spPr>
          <a:xfrm>
            <a:off x="1849348" y="6523984"/>
            <a:ext cx="2095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win Pier Conce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6E63D4-EF99-4EA4-856E-082710390B78}"/>
              </a:ext>
            </a:extLst>
          </p:cNvPr>
          <p:cNvSpPr txBox="1"/>
          <p:nvPr/>
        </p:nvSpPr>
        <p:spPr>
          <a:xfrm>
            <a:off x="7859731" y="6511463"/>
            <a:ext cx="30000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-Shaped Pier Concept</a:t>
            </a:r>
          </a:p>
        </p:txBody>
      </p:sp>
    </p:spTree>
    <p:extLst>
      <p:ext uri="{BB962C8B-B14F-4D97-AF65-F5344CB8AC3E}">
        <p14:creationId xmlns:p14="http://schemas.microsoft.com/office/powerpoint/2010/main" val="963367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B673E-C0E7-4854-90DC-BCE3EA09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48" y="290382"/>
            <a:ext cx="11725484" cy="1846659"/>
          </a:xfrm>
        </p:spPr>
        <p:txBody>
          <a:bodyPr/>
          <a:lstStyle/>
          <a:p>
            <a:r>
              <a:rPr lang="en-US" sz="3200" dirty="0">
                <a:latin typeface="Calibri"/>
                <a:cs typeface="Calibri"/>
              </a:rPr>
              <a:t>Other Services</a:t>
            </a:r>
            <a:br>
              <a:rPr lang="en-US" sz="3200" dirty="0"/>
            </a:br>
            <a:r>
              <a:rPr lang="en-US" sz="2200" dirty="0">
                <a:latin typeface="Calibri"/>
                <a:cs typeface="Calibri"/>
              </a:rPr>
              <a:t>Other potential engineering and design services shall include but not be limited to:</a:t>
            </a:r>
            <a:br>
              <a:rPr lang="en-US" sz="2200" dirty="0"/>
            </a:br>
            <a:br>
              <a:rPr lang="en-US" sz="2200" dirty="0"/>
            </a:br>
            <a:r>
              <a:rPr lang="en-US" sz="2200" dirty="0">
                <a:latin typeface="Calibri"/>
                <a:cs typeface="Calibri"/>
              </a:rPr>
              <a:t>Construction Support Services</a:t>
            </a:r>
            <a:br>
              <a:rPr lang="en-US" sz="2200" dirty="0"/>
            </a:br>
            <a:endParaRPr lang="en-US" sz="2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8FC8E-A8C4-4E29-84CA-8EBF89E7B95A}"/>
              </a:ext>
            </a:extLst>
          </p:cNvPr>
          <p:cNvSpPr txBox="1"/>
          <p:nvPr/>
        </p:nvSpPr>
        <p:spPr>
          <a:xfrm>
            <a:off x="129868" y="1817836"/>
            <a:ext cx="11496842" cy="2344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NJEDA may elect to solicit for additional construction inspection services in the form of an on-site Owner’s Representative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is could include but not be limited too: Performing oversight and quality assurance of Construction Manager and their Subcontractors, interfacing with on-site stakeholders, submitting daily oversight reports, issuing non-conformance notices, etc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939" dirty="0"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160ACA-ABE5-4636-A723-7EA7EAFDD0CB}"/>
              </a:ext>
            </a:extLst>
          </p:cNvPr>
          <p:cNvSpPr txBox="1"/>
          <p:nvPr/>
        </p:nvSpPr>
        <p:spPr>
          <a:xfrm>
            <a:off x="336648" y="3730793"/>
            <a:ext cx="609771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kern="0" dirty="0">
                <a:solidFill>
                  <a:srgbClr val="0078A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rPr>
              <a:t>Operations &amp; Maintenance </a:t>
            </a:r>
          </a:p>
          <a:p>
            <a:endParaRPr lang="en-US" sz="2200" b="1" kern="0" dirty="0">
              <a:solidFill>
                <a:srgbClr val="0078AE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endParaRPr lang="en-US" sz="2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73B9FA-4512-430C-8466-8C3B721DDB1C}"/>
              </a:ext>
            </a:extLst>
          </p:cNvPr>
          <p:cNvSpPr txBox="1"/>
          <p:nvPr/>
        </p:nvSpPr>
        <p:spPr>
          <a:xfrm>
            <a:off x="129867" y="3857221"/>
            <a:ext cx="12062133" cy="3402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939" dirty="0"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JEDA may require engineering and design services related to operation and maintenance activities at completed facilities at the Port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is may include but not be limited too: Hydrographic Surveys, Aerials Surveys, Topographic Surveys, Damage Assessments, Annual Inspections, Repair Scopes, and Emergency Services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&amp;M services could also include Traffic Engineering and Consulting services for access roads at the site or in direct connection. These activities include: damage assessments, repair design, traffic counts, traffic modelling, etc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US" sz="1939" dirty="0"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8244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AB673E-C0E7-4854-90DC-BCE3EA09D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48" y="290382"/>
            <a:ext cx="11725484" cy="830997"/>
          </a:xfrm>
        </p:spPr>
        <p:txBody>
          <a:bodyPr/>
          <a:lstStyle/>
          <a:p>
            <a:r>
              <a:rPr lang="en-US" sz="3200" dirty="0">
                <a:latin typeface="Calibri"/>
                <a:cs typeface="Calibri"/>
              </a:rPr>
              <a:t>Other Services (cont.)</a:t>
            </a:r>
            <a:br>
              <a:rPr lang="en-US" sz="3200" dirty="0"/>
            </a:br>
            <a:r>
              <a:rPr lang="en-US" sz="2200" dirty="0">
                <a:latin typeface="Calibri"/>
                <a:cs typeface="Calibri"/>
              </a:rPr>
              <a:t>Other potential engineering and design services shall include but not be limited to:</a:t>
            </a:r>
            <a:endParaRPr lang="en-US" sz="2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8FC8E-A8C4-4E29-84CA-8EBF89E7B95A}"/>
              </a:ext>
            </a:extLst>
          </p:cNvPr>
          <p:cNvSpPr txBox="1"/>
          <p:nvPr/>
        </p:nvSpPr>
        <p:spPr>
          <a:xfrm>
            <a:off x="129868" y="1358904"/>
            <a:ext cx="11496842" cy="34932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837"/>
              </a:spcAft>
            </a:pPr>
            <a:r>
              <a:rPr lang="en-US" sz="2400" b="1" dirty="0">
                <a:solidFill>
                  <a:srgbClr val="0078AE"/>
                </a:solidFill>
                <a:latin typeface="Calibri"/>
                <a:ea typeface="+mj-ea"/>
                <a:cs typeface="Calibri"/>
              </a:rPr>
              <a:t>Emergency Engineering Services</a:t>
            </a:r>
            <a:endParaRPr lang="en-US" dirty="0">
              <a:ea typeface="+mj-ea"/>
            </a:endParaRPr>
          </a:p>
          <a:p>
            <a:pPr marL="349250" indent="-349250">
              <a:spcAft>
                <a:spcPts val="1837"/>
              </a:spcAft>
              <a:buClr>
                <a:schemeClr val="tx1"/>
              </a:buClr>
              <a:buFont typeface="Wingdings"/>
              <a:buChar char="Ø"/>
            </a:pPr>
            <a:r>
              <a:rPr lang="en-US" sz="1900" dirty="0">
                <a:latin typeface="Calibri"/>
                <a:ea typeface="+mj-ea"/>
                <a:cs typeface="Calibri"/>
              </a:rPr>
              <a:t>In instances where engineering services are needed on an emergency basis, e.g.</a:t>
            </a:r>
            <a:r>
              <a:rPr lang="en-US" sz="1900">
                <a:latin typeface="Calibri"/>
                <a:ea typeface="+mj-ea"/>
                <a:cs typeface="Calibri"/>
              </a:rPr>
              <a:t> a utility outage occurs or there is damage to the port that needs to be assessed and/or repaired right away, the NJEDA would want engineers to be available to provide the services listed in the scope of work on an emergency basis. </a:t>
            </a:r>
          </a:p>
          <a:p>
            <a:pPr marL="349250" indent="-349250">
              <a:spcAft>
                <a:spcPts val="1837"/>
              </a:spcAft>
              <a:buClr>
                <a:schemeClr val="tx1"/>
              </a:buClr>
              <a:buFont typeface="Wingdings"/>
              <a:buChar char="Ø"/>
            </a:pPr>
            <a:r>
              <a:rPr lang="en-US" sz="1900">
                <a:latin typeface="Calibri"/>
                <a:ea typeface="+mj-ea"/>
                <a:cs typeface="Calibri"/>
              </a:rPr>
              <a:t>If emergency engineering services are required, the Director for the NJWP, or their designee, will solicit responses from the Qualified firms on a rotating basis starting with the highest ranked firm from the evaluation. </a:t>
            </a:r>
          </a:p>
          <a:p>
            <a:pPr marL="349250" indent="-349250">
              <a:spcAft>
                <a:spcPts val="1837"/>
              </a:spcAft>
              <a:buClr>
                <a:schemeClr val="tx1"/>
              </a:buClr>
              <a:buFont typeface="Wingdings"/>
              <a:buChar char="Ø"/>
            </a:pPr>
            <a:r>
              <a:rPr lang="en-US" sz="1900">
                <a:latin typeface="Calibri"/>
                <a:ea typeface="+mj-ea"/>
                <a:cs typeface="Calibri"/>
              </a:rPr>
              <a:t>If the first firm solicited does not respond within two (2) hours the Director for the NJWP will proceed to the next firm in the rotation. Firms shall respond within 2 hours of the request for Emergency services and shall be onsite within eight (8) hours. </a:t>
            </a:r>
            <a:endParaRPr lang="en-US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055650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01274-E1DD-4665-BEF9-A0B3E3E8F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picture containing sky, outdoor, ground&#10;&#10;Description automatically generated">
            <a:extLst>
              <a:ext uri="{FF2B5EF4-FFF2-40B4-BE49-F238E27FC236}">
                <a16:creationId xmlns:a16="http://schemas.microsoft.com/office/drawing/2014/main" id="{907D09D5-5B90-4831-A1D6-B1C76FC166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" y="51"/>
            <a:ext cx="12191820" cy="6857899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ACCE530-51C0-47FE-B902-A656F131478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6919" y="329440"/>
            <a:ext cx="7146185" cy="71461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30D7B75-13D1-4826-9EA3-1ACC37114595}"/>
              </a:ext>
            </a:extLst>
          </p:cNvPr>
          <p:cNvSpPr/>
          <p:nvPr/>
        </p:nvSpPr>
        <p:spPr>
          <a:xfrm>
            <a:off x="11018059" y="5523794"/>
            <a:ext cx="1066254" cy="119953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AFBA8F-BA42-43A0-8AAD-B7293CBACF37}"/>
              </a:ext>
            </a:extLst>
          </p:cNvPr>
          <p:cNvSpPr txBox="1"/>
          <p:nvPr/>
        </p:nvSpPr>
        <p:spPr>
          <a:xfrm>
            <a:off x="987428" y="6123562"/>
            <a:ext cx="11490300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rn more at: </a:t>
            </a:r>
            <a:r>
              <a:rPr lang="en-US" sz="2449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.gov/</a:t>
            </a:r>
            <a:r>
              <a:rPr lang="en-US" sz="2449" b="1" dirty="0" err="1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ndport</a:t>
            </a:r>
            <a:r>
              <a:rPr lang="en-US" sz="2449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49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     </a:t>
            </a:r>
            <a:r>
              <a:rPr lang="en-US" sz="2449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stions: </a:t>
            </a:r>
            <a:r>
              <a:rPr lang="en-US" sz="2449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windport@njeda.com</a:t>
            </a:r>
          </a:p>
        </p:txBody>
      </p:sp>
    </p:spTree>
    <p:extLst>
      <p:ext uri="{BB962C8B-B14F-4D97-AF65-F5344CB8AC3E}">
        <p14:creationId xmlns:p14="http://schemas.microsoft.com/office/powerpoint/2010/main" val="2362827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3ACE4B9-E447-43C3-8D5D-47CC8572FC27}"/>
              </a:ext>
            </a:extLst>
          </p:cNvPr>
          <p:cNvSpPr txBox="1"/>
          <p:nvPr/>
        </p:nvSpPr>
        <p:spPr>
          <a:xfrm>
            <a:off x="149117" y="176870"/>
            <a:ext cx="11893767" cy="446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905"/>
            <a:r>
              <a:rPr lang="en-US" sz="224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 IS DEVELOPING THE </a:t>
            </a:r>
            <a:r>
              <a:rPr lang="en-US" sz="2245" b="1" dirty="0">
                <a:solidFill>
                  <a:srgbClr val="C5FF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ION’S 1</a:t>
            </a:r>
            <a:r>
              <a:rPr lang="en-US" sz="2245" b="1" baseline="30000" dirty="0">
                <a:solidFill>
                  <a:srgbClr val="C5FF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2245" b="1" dirty="0">
                <a:solidFill>
                  <a:srgbClr val="C5FF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URPOSE-BUILT OFFSHORE WIND “HUB”</a:t>
            </a:r>
            <a:endParaRPr lang="en-US" sz="224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FE8A6A-9C92-47A8-8404-F2374C2A70CC}"/>
              </a:ext>
            </a:extLst>
          </p:cNvPr>
          <p:cNvSpPr txBox="1"/>
          <p:nvPr/>
        </p:nvSpPr>
        <p:spPr>
          <a:xfrm>
            <a:off x="249607" y="1227953"/>
            <a:ext cx="4042159" cy="4621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ocated in </a:t>
            </a: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alem County 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(Southern NJ)</a:t>
            </a:r>
          </a:p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urpose-built</a:t>
            </a:r>
            <a:r>
              <a:rPr lang="en-US" sz="1939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or OSW </a:t>
            </a:r>
          </a:p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&gt;220-acres at full scale – enabling </a:t>
            </a: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“co-location”</a:t>
            </a:r>
            <a:r>
              <a:rPr lang="en-US" sz="1939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f marshalling and manufacturing</a:t>
            </a:r>
          </a:p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ublicly 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unded/financed ($478.2M secured to-date)</a:t>
            </a:r>
            <a:endParaRPr lang="en-US" sz="1939" b="1" dirty="0">
              <a:solidFill>
                <a:srgbClr val="C5FF3E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ill create </a:t>
            </a: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&gt;1,500 ongoing jobs 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+ hundreds of construction jobs </a:t>
            </a:r>
          </a:p>
          <a:p>
            <a:pPr marL="349861" indent="-349861">
              <a:spcAft>
                <a:spcPts val="1837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939" b="1" dirty="0">
                <a:solidFill>
                  <a:srgbClr val="C5FF3E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$500M </a:t>
            </a:r>
            <a:r>
              <a:rPr lang="en-US" sz="1939" b="1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</a:t>
            </a:r>
            <a:r>
              <a:rPr lang="en-US" sz="1939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crease to NJ’s GDP</a:t>
            </a:r>
            <a:endParaRPr lang="en-US" sz="1939" b="1" dirty="0">
              <a:solidFill>
                <a:srgbClr val="C5FF3E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4C7FA8-2F1A-4C9F-8E8B-E070B3E72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6315" y="1132767"/>
            <a:ext cx="7517537" cy="44998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FDE3F9F-F81F-4767-A256-A8D90AC1F7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84" t="8943" r="18709" b="29276"/>
          <a:stretch/>
        </p:blipFill>
        <p:spPr>
          <a:xfrm>
            <a:off x="4551685" y="4548245"/>
            <a:ext cx="976700" cy="95165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BC3938-9332-4343-B2FB-6D8C84D037B5}"/>
              </a:ext>
            </a:extLst>
          </p:cNvPr>
          <p:cNvSpPr txBox="1"/>
          <p:nvPr/>
        </p:nvSpPr>
        <p:spPr>
          <a:xfrm>
            <a:off x="5343553" y="5698188"/>
            <a:ext cx="6096720" cy="671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37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rther information is available at the NJ Wind Port website: </a:t>
            </a:r>
            <a:r>
              <a:rPr lang="en-US" sz="1837" b="1" i="1" dirty="0">
                <a:solidFill>
                  <a:srgbClr val="C5FF3E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j.gov/windport/</a:t>
            </a:r>
            <a:r>
              <a:rPr lang="en-US" sz="1837" b="1" i="1" dirty="0">
                <a:solidFill>
                  <a:srgbClr val="C5FF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454E1-1540-41CA-943A-06E1A5EFAB08}"/>
              </a:ext>
            </a:extLst>
          </p:cNvPr>
          <p:cNvSpPr txBox="1"/>
          <p:nvPr/>
        </p:nvSpPr>
        <p:spPr>
          <a:xfrm>
            <a:off x="8391913" y="1132767"/>
            <a:ext cx="3550481" cy="318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28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ual illustration</a:t>
            </a:r>
          </a:p>
        </p:txBody>
      </p:sp>
    </p:spTree>
    <p:extLst>
      <p:ext uri="{BB962C8B-B14F-4D97-AF65-F5344CB8AC3E}">
        <p14:creationId xmlns:p14="http://schemas.microsoft.com/office/powerpoint/2010/main" val="1999848100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3DF78-A904-85AE-691D-B76F379B7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8" y="290566"/>
            <a:ext cx="11725484" cy="369332"/>
          </a:xfrm>
        </p:spPr>
        <p:txBody>
          <a:bodyPr/>
          <a:lstStyle/>
          <a:p>
            <a:r>
              <a:rPr lang="en-US" sz="2400" dirty="0">
                <a:solidFill>
                  <a:srgbClr val="92D050"/>
                </a:solidFill>
                <a:latin typeface="Calibri"/>
                <a:cs typeface="Calibri"/>
              </a:rPr>
              <a:t>CENTRALLY LOCATED</a:t>
            </a:r>
            <a:r>
              <a:rPr lang="en-US" sz="2400" dirty="0">
                <a:latin typeface="Calibri"/>
                <a:cs typeface="Calibri"/>
              </a:rPr>
              <a:t> ALONG THE WIND BELT, THE NJWP WILL SERVE AS A </a:t>
            </a:r>
            <a:r>
              <a:rPr lang="en-US" sz="2400" dirty="0">
                <a:solidFill>
                  <a:srgbClr val="92D050"/>
                </a:solidFill>
                <a:latin typeface="Calibri"/>
                <a:cs typeface="Calibri"/>
              </a:rPr>
              <a:t>REGIONAL ASSET</a:t>
            </a: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AF4724EF-BD70-74DE-2A2F-DC663D1BA2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970" y="657536"/>
            <a:ext cx="10795752" cy="6072760"/>
          </a:xfrm>
          <a:prstGeom prst="rect">
            <a:avLst/>
          </a:prstGeom>
        </p:spPr>
      </p:pic>
      <p:sp>
        <p:nvSpPr>
          <p:cNvPr id="8" name="TextBox 2">
            <a:extLst>
              <a:ext uri="{FF2B5EF4-FFF2-40B4-BE49-F238E27FC236}">
                <a16:creationId xmlns:a16="http://schemas.microsoft.com/office/drawing/2014/main" id="{216A8430-920D-82A2-DF3E-E0333796B759}"/>
              </a:ext>
            </a:extLst>
          </p:cNvPr>
          <p:cNvSpPr txBox="1"/>
          <p:nvPr/>
        </p:nvSpPr>
        <p:spPr>
          <a:xfrm>
            <a:off x="643408" y="2469654"/>
            <a:ext cx="1638404" cy="375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37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 WIND PORT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E7B8A49-6E61-F72D-9961-EC9527A92E72}"/>
              </a:ext>
            </a:extLst>
          </p:cNvPr>
          <p:cNvCxnSpPr>
            <a:cxnSpLocks/>
          </p:cNvCxnSpPr>
          <p:nvPr/>
        </p:nvCxnSpPr>
        <p:spPr>
          <a:xfrm>
            <a:off x="1353753" y="2824810"/>
            <a:ext cx="605551" cy="121372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07419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C383D4BF-FB0D-1D0C-2B78-53509CF759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72" y="942454"/>
            <a:ext cx="6331350" cy="58701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E56879A-7921-47EB-9170-2F5A60933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8" y="290566"/>
            <a:ext cx="11725484" cy="492443"/>
          </a:xfrm>
        </p:spPr>
        <p:txBody>
          <a:bodyPr/>
          <a:lstStyle/>
          <a:p>
            <a:r>
              <a:rPr lang="en-US" sz="3200" b="1" dirty="0"/>
              <a:t>Site </a:t>
            </a:r>
            <a:r>
              <a:rPr lang="en-US" sz="3200" dirty="0"/>
              <a:t>Loc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08FB15-B79A-4157-A93D-2E730FD378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6742" y="356583"/>
            <a:ext cx="443869" cy="525463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38F516AA-2A14-1F61-4BF6-9C6EB3F964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0248" y="453711"/>
            <a:ext cx="5559706" cy="63556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7D4D35-163A-4F95-A8BF-9551DDB0DE11}"/>
              </a:ext>
            </a:extLst>
          </p:cNvPr>
          <p:cNvSpPr txBox="1"/>
          <p:nvPr/>
        </p:nvSpPr>
        <p:spPr>
          <a:xfrm>
            <a:off x="6575461" y="2938409"/>
            <a:ext cx="1828800" cy="1643865"/>
          </a:xfrm>
          <a:prstGeom prst="rect">
            <a:avLst/>
          </a:prstGeom>
          <a:noFill/>
          <a:ln w="4762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47385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3ACE4B9-E447-43C3-8D5D-47CC8572FC27}"/>
              </a:ext>
            </a:extLst>
          </p:cNvPr>
          <p:cNvSpPr txBox="1"/>
          <p:nvPr/>
        </p:nvSpPr>
        <p:spPr>
          <a:xfrm>
            <a:off x="149117" y="176870"/>
            <a:ext cx="11893767" cy="446705"/>
          </a:xfrm>
          <a:prstGeom prst="rect">
            <a:avLst/>
          </a:prstGeom>
          <a:solidFill>
            <a:srgbClr val="4472C4"/>
          </a:solidFill>
        </p:spPr>
        <p:txBody>
          <a:bodyPr wrap="square" rtlCol="0">
            <a:spAutoFit/>
          </a:bodyPr>
          <a:lstStyle/>
          <a:p>
            <a:pPr defTabSz="932905"/>
            <a:r>
              <a:rPr lang="en-US" sz="224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JWP Project Tree</a:t>
            </a:r>
            <a:endParaRPr lang="en-US" sz="224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 descr="Timeline&#10;&#10;Description automatically generated">
            <a:extLst>
              <a:ext uri="{FF2B5EF4-FFF2-40B4-BE49-F238E27FC236}">
                <a16:creationId xmlns:a16="http://schemas.microsoft.com/office/drawing/2014/main" id="{3A75DDD5-5C94-46E6-B399-4DF6B01B99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042" y="826400"/>
            <a:ext cx="9549305" cy="573578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0BBEFF4-A902-49F4-BE5A-86BDFCA4D4FC}"/>
              </a:ext>
            </a:extLst>
          </p:cNvPr>
          <p:cNvSpPr txBox="1"/>
          <p:nvPr/>
        </p:nvSpPr>
        <p:spPr>
          <a:xfrm>
            <a:off x="8352890" y="2210237"/>
            <a:ext cx="2476072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Partner/Landowner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ACD241-8ACE-409D-BB5A-BCF5FD761838}"/>
              </a:ext>
            </a:extLst>
          </p:cNvPr>
          <p:cNvSpPr txBox="1"/>
          <p:nvPr/>
        </p:nvSpPr>
        <p:spPr>
          <a:xfrm>
            <a:off x="8167955" y="6031600"/>
            <a:ext cx="2845941" cy="523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Approximately 50% of NJWP Property is leased from PSEG</a:t>
            </a:r>
          </a:p>
        </p:txBody>
      </p:sp>
    </p:spTree>
    <p:extLst>
      <p:ext uri="{BB962C8B-B14F-4D97-AF65-F5344CB8AC3E}">
        <p14:creationId xmlns:p14="http://schemas.microsoft.com/office/powerpoint/2010/main" val="1797662327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6879A-7921-47EB-9170-2F5A60933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8" y="290566"/>
            <a:ext cx="11725484" cy="492443"/>
          </a:xfrm>
        </p:spPr>
        <p:txBody>
          <a:bodyPr/>
          <a:lstStyle/>
          <a:p>
            <a:r>
              <a:rPr lang="en-US" sz="3200" b="1" dirty="0"/>
              <a:t>Site Overview/Parcel Layout</a:t>
            </a:r>
            <a:endParaRPr lang="en-US" sz="3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08FB15-B79A-4157-A93D-2E730FD378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7653" y="829217"/>
            <a:ext cx="443869" cy="525463"/>
          </a:xfrm>
          <a:prstGeom prst="rect">
            <a:avLst/>
          </a:prstGeom>
        </p:spPr>
      </p:pic>
      <p:pic>
        <p:nvPicPr>
          <p:cNvPr id="10" name="Picture 9" descr="Map&#10;&#10;Description automatically generated">
            <a:extLst>
              <a:ext uri="{FF2B5EF4-FFF2-40B4-BE49-F238E27FC236}">
                <a16:creationId xmlns:a16="http://schemas.microsoft.com/office/drawing/2014/main" id="{1994B4DD-7376-4F85-A02C-8D942A1D0A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58" y="829217"/>
            <a:ext cx="5967717" cy="59677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4D9815-ED16-4581-9AC2-5171CA0D7C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121" t="1310" b="18911"/>
          <a:stretch/>
        </p:blipFill>
        <p:spPr>
          <a:xfrm>
            <a:off x="7129841" y="1504377"/>
            <a:ext cx="4133690" cy="2952206"/>
          </a:xfrm>
          <a:prstGeom prst="rect">
            <a:avLst/>
          </a:prstGeom>
          <a:ln>
            <a:noFill/>
          </a:ln>
        </p:spPr>
      </p:pic>
      <p:sp>
        <p:nvSpPr>
          <p:cNvPr id="6" name="Star: 5 Points 5">
            <a:extLst>
              <a:ext uri="{FF2B5EF4-FFF2-40B4-BE49-F238E27FC236}">
                <a16:creationId xmlns:a16="http://schemas.microsoft.com/office/drawing/2014/main" id="{346F1D4C-8FB4-E499-6ED8-96FCE41A24F2}"/>
              </a:ext>
            </a:extLst>
          </p:cNvPr>
          <p:cNvSpPr/>
          <p:nvPr/>
        </p:nvSpPr>
        <p:spPr>
          <a:xfrm>
            <a:off x="3143250" y="4845050"/>
            <a:ext cx="228600" cy="228600"/>
          </a:xfrm>
          <a:prstGeom prst="star5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305396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6879A-7921-47EB-9170-2F5A60933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7" y="236635"/>
            <a:ext cx="11725484" cy="369332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tx1"/>
                </a:solidFill>
                <a:latin typeface="Calibri"/>
                <a:cs typeface="Calibri"/>
              </a:rPr>
              <a:t>Active Construction Site Panorama </a:t>
            </a:r>
            <a:br>
              <a:rPr lang="en-US" sz="3200" b="1" dirty="0"/>
            </a:br>
            <a:r>
              <a:rPr lang="en-US" sz="1600" dirty="0">
                <a:solidFill>
                  <a:schemeClr val="tx1"/>
                </a:solidFill>
                <a:latin typeface="Calibri"/>
                <a:cs typeface="Calibri"/>
              </a:rPr>
              <a:t>January 2024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17D771-8953-42E9-96FA-7B78B34B9A9F}"/>
              </a:ext>
            </a:extLst>
          </p:cNvPr>
          <p:cNvSpPr txBox="1"/>
          <p:nvPr/>
        </p:nvSpPr>
        <p:spPr>
          <a:xfrm>
            <a:off x="11561272" y="82747"/>
            <a:ext cx="318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5" name="Picture 4" descr="A picture containing outdoor, ground&#10;&#10;Description automatically generated">
            <a:extLst>
              <a:ext uri="{FF2B5EF4-FFF2-40B4-BE49-F238E27FC236}">
                <a16:creationId xmlns:a16="http://schemas.microsoft.com/office/drawing/2014/main" id="{4987BD8C-8935-42A3-AC62-56B3E4C15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29304"/>
            <a:ext cx="12192000" cy="3199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36350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6879A-7921-47EB-9170-2F5A60933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7" y="236635"/>
            <a:ext cx="11725484" cy="369332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tx1"/>
                </a:solidFill>
                <a:latin typeface="Calibri"/>
                <a:cs typeface="Calibri"/>
              </a:rPr>
              <a:t>Active Construction </a:t>
            </a:r>
            <a:br>
              <a:rPr lang="en-US" sz="3200" b="1" dirty="0"/>
            </a:br>
            <a:r>
              <a:rPr lang="en-US" sz="1600" dirty="0">
                <a:solidFill>
                  <a:schemeClr val="tx1"/>
                </a:solidFill>
                <a:latin typeface="Calibri"/>
                <a:cs typeface="Calibri"/>
              </a:rPr>
              <a:t>January 2024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060C29-20E4-4A34-B71B-93E0EFD1DDAC}"/>
              </a:ext>
            </a:extLst>
          </p:cNvPr>
          <p:cNvSpPr txBox="1"/>
          <p:nvPr/>
        </p:nvSpPr>
        <p:spPr>
          <a:xfrm>
            <a:off x="11547946" y="159691"/>
            <a:ext cx="226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B8713D27-C213-4879-8B6B-419C3CD159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31" y="1041245"/>
            <a:ext cx="11823737" cy="532873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868177-8AEC-4179-B027-90C2B3F8D602}"/>
              </a:ext>
            </a:extLst>
          </p:cNvPr>
          <p:cNvSpPr txBox="1"/>
          <p:nvPr/>
        </p:nvSpPr>
        <p:spPr>
          <a:xfrm>
            <a:off x="5250094" y="2907587"/>
            <a:ext cx="139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arcel 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462D4A-E880-4CD7-A46E-FB240418F9E1}"/>
              </a:ext>
            </a:extLst>
          </p:cNvPr>
          <p:cNvSpPr txBox="1"/>
          <p:nvPr/>
        </p:nvSpPr>
        <p:spPr>
          <a:xfrm>
            <a:off x="7929937" y="1950378"/>
            <a:ext cx="139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arcel C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E4DAE7-D515-46D2-902A-97FBCB6125BC}"/>
              </a:ext>
            </a:extLst>
          </p:cNvPr>
          <p:cNvSpPr txBox="1"/>
          <p:nvPr/>
        </p:nvSpPr>
        <p:spPr>
          <a:xfrm>
            <a:off x="9366608" y="1774005"/>
            <a:ext cx="139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arcel C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5477BD-976C-4671-B914-78FA3CBA2283}"/>
              </a:ext>
            </a:extLst>
          </p:cNvPr>
          <p:cNvSpPr txBox="1"/>
          <p:nvPr/>
        </p:nvSpPr>
        <p:spPr>
          <a:xfrm>
            <a:off x="2640056" y="1690099"/>
            <a:ext cx="139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arcel B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E17E93-CB04-4341-A3CA-609FBE5E15D6}"/>
              </a:ext>
            </a:extLst>
          </p:cNvPr>
          <p:cNvSpPr txBox="1"/>
          <p:nvPr/>
        </p:nvSpPr>
        <p:spPr>
          <a:xfrm>
            <a:off x="1610928" y="1226971"/>
            <a:ext cx="139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arcel B2</a:t>
            </a:r>
          </a:p>
        </p:txBody>
      </p:sp>
    </p:spTree>
    <p:extLst>
      <p:ext uri="{BB962C8B-B14F-4D97-AF65-F5344CB8AC3E}">
        <p14:creationId xmlns:p14="http://schemas.microsoft.com/office/powerpoint/2010/main" val="246348385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87C7F-8B60-4722-8785-3FED95E8F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8" y="290566"/>
            <a:ext cx="11725484" cy="492443"/>
          </a:xfrm>
        </p:spPr>
        <p:txBody>
          <a:bodyPr/>
          <a:lstStyle/>
          <a:p>
            <a:r>
              <a:rPr lang="en-US" sz="3200" dirty="0"/>
              <a:t>Potential Engineering Project: </a:t>
            </a:r>
            <a:r>
              <a:rPr lang="en-US" sz="3200" dirty="0">
                <a:solidFill>
                  <a:srgbClr val="0078AE"/>
                </a:solidFill>
              </a:rPr>
              <a:t>Potable Water System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84B67-1154-4FCF-A407-8E8A52C973D9}"/>
              </a:ext>
            </a:extLst>
          </p:cNvPr>
          <p:cNvSpPr txBox="1"/>
          <p:nvPr/>
        </p:nvSpPr>
        <p:spPr>
          <a:xfrm>
            <a:off x="161988" y="983228"/>
            <a:ext cx="4967534" cy="4895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NJWP will require a  potable water production, storage and distribution system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ystem requirements will be based on water studies completed to date, water allocation recommendations of the NJDEP, and the needs of site users. 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JEDA’s current concept is to site a water tower and distribution system in a “utility triangle” to be located north of Parcel C1 and southeast of Parcel B1. 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nitial study efforts have been completed in 2023.</a:t>
            </a:r>
          </a:p>
          <a:p>
            <a:pPr marL="349861" indent="-349861">
              <a:spcAft>
                <a:spcPts val="1837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sz="1939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ermitting support efforts will be required.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BE04EA6-0FA0-4104-B135-022C109CB6CE}"/>
              </a:ext>
            </a:extLst>
          </p:cNvPr>
          <p:cNvGrpSpPr/>
          <p:nvPr/>
        </p:nvGrpSpPr>
        <p:grpSpPr>
          <a:xfrm>
            <a:off x="5434013" y="1003839"/>
            <a:ext cx="5584206" cy="5584206"/>
            <a:chOff x="347663" y="1085850"/>
            <a:chExt cx="5584206" cy="5584206"/>
          </a:xfrm>
        </p:grpSpPr>
        <p:pic>
          <p:nvPicPr>
            <p:cNvPr id="7" name="Picture 6" descr="Map&#10;&#10;Description automatically generated">
              <a:extLst>
                <a:ext uri="{FF2B5EF4-FFF2-40B4-BE49-F238E27FC236}">
                  <a16:creationId xmlns:a16="http://schemas.microsoft.com/office/drawing/2014/main" id="{22B79C01-81A6-4856-A330-F46D8F587E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663" y="1085850"/>
              <a:ext cx="5584206" cy="558420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9" name="Callout: Left Arrow 8">
              <a:extLst>
                <a:ext uri="{FF2B5EF4-FFF2-40B4-BE49-F238E27FC236}">
                  <a16:creationId xmlns:a16="http://schemas.microsoft.com/office/drawing/2014/main" id="{4914886A-82DB-461C-AAF6-CDF76A9489E6}"/>
                </a:ext>
              </a:extLst>
            </p:cNvPr>
            <p:cNvSpPr/>
            <p:nvPr/>
          </p:nvSpPr>
          <p:spPr>
            <a:xfrm>
              <a:off x="2257258" y="2592113"/>
              <a:ext cx="2417611" cy="1143000"/>
            </a:xfrm>
            <a:prstGeom prst="leftArrowCallou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The “Utility Triangle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4378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IcWrqIkwV1Zg5U4AH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IZUCOMBhNhZVk2J.s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IZUCOMBhNhZVk2J.s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62VVn8Mnyfu7crNSou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eEllHnA78Sj1bGolYN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ay6HOLf.n_DajmuwKq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JEDA">
  <a:themeElements>
    <a:clrScheme name="Custom 1">
      <a:dk1>
        <a:srgbClr val="000000"/>
      </a:dk1>
      <a:lt1>
        <a:srgbClr val="FFFFFF"/>
      </a:lt1>
      <a:dk2>
        <a:srgbClr val="0078AE"/>
      </a:dk2>
      <a:lt2>
        <a:srgbClr val="00B3E2"/>
      </a:lt2>
      <a:accent1>
        <a:srgbClr val="0078AE"/>
      </a:accent1>
      <a:accent2>
        <a:srgbClr val="84BD00"/>
      </a:accent2>
      <a:accent3>
        <a:srgbClr val="00B3E2"/>
      </a:accent3>
      <a:accent4>
        <a:srgbClr val="005B82"/>
      </a:accent4>
      <a:accent5>
        <a:srgbClr val="BABCBE"/>
      </a:accent5>
      <a:accent6>
        <a:srgbClr val="799B3E"/>
      </a:accent6>
      <a:hlink>
        <a:srgbClr val="0078AE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JEDA" id="{C653BEB9-F344-4A88-A5BD-1A82FC1CEFF2}" vid="{4E34994A-1500-4B82-BA22-17CF4628EE0F}"/>
    </a:ext>
  </a:extLst>
</a:theme>
</file>

<file path=ppt/theme/theme3.xml><?xml version="1.0" encoding="utf-8"?>
<a:theme xmlns:a="http://schemas.openxmlformats.org/drawingml/2006/main" name="Banded">
  <a:themeElements>
    <a:clrScheme name="Banded">
      <a:dk1>
        <a:srgbClr val="2C2C2C"/>
      </a:dk1>
      <a:lt1>
        <a:srgbClr val="FFFFFF"/>
      </a:lt1>
      <a:dk2>
        <a:srgbClr val="099BDD"/>
      </a:dk2>
      <a:lt2>
        <a:srgbClr val="F2F2F2"/>
      </a:lt2>
      <a:accent1>
        <a:srgbClr val="FFC000"/>
      </a:accent1>
      <a:accent2>
        <a:srgbClr val="A5D028"/>
      </a:accent2>
      <a:accent3>
        <a:srgbClr val="08CC78"/>
      </a:accent3>
      <a:accent4>
        <a:srgbClr val="F24099"/>
      </a:accent4>
      <a:accent5>
        <a:srgbClr val="828288"/>
      </a:accent5>
      <a:accent6>
        <a:srgbClr val="F56617"/>
      </a:accent6>
      <a:hlink>
        <a:srgbClr val="005DBA"/>
      </a:hlink>
      <a:folHlink>
        <a:srgbClr val="6C606A"/>
      </a:folHlink>
    </a:clrScheme>
    <a:fontScheme name="Banded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nd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120000"/>
                <a:lumMod val="107000"/>
              </a:schemeClr>
            </a:gs>
            <a:gs pos="50000">
              <a:schemeClr val="phClr">
                <a:tint val="70000"/>
                <a:satMod val="124000"/>
                <a:lumMod val="103000"/>
              </a:schemeClr>
            </a:gs>
            <a:gs pos="100000">
              <a:schemeClr val="phClr">
                <a:tint val="85000"/>
                <a:satMod val="12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5000"/>
                <a:shade val="98000"/>
                <a:satMod val="110000"/>
                <a:lumMod val="103000"/>
              </a:schemeClr>
            </a:gs>
            <a:gs pos="50000">
              <a:schemeClr val="phClr">
                <a:shade val="85000"/>
                <a:satMod val="105000"/>
                <a:lumMod val="100000"/>
              </a:schemeClr>
            </a:gs>
            <a:gs pos="100000">
              <a:schemeClr val="phClr">
                <a:shade val="60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5875" dir="5400000" algn="ctr" rotWithShape="0">
              <a:srgbClr val="000000">
                <a:alpha val="68000"/>
              </a:srgbClr>
            </a:outerShdw>
          </a:effectLst>
        </a:effectStyle>
        <a:effectStyle>
          <a:effectLst>
            <a:outerShdw blurRad="88900" dist="2794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/>
              <a:schemeClr val="phClr">
                <a:shade val="91000"/>
                <a:satMod val="105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100000"/>
                <a:shade val="0"/>
                <a:satMod val="100000"/>
              </a:schemeClr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nded" id="{98DFF888-2449-4D28-977C-6306C017633E}" vid="{9792607F-9579-4224-82FF-9C88C3E1E53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EFB2B2647D984DB9197068070B2CD4" ma:contentTypeVersion="6" ma:contentTypeDescription="Create a new document." ma:contentTypeScope="" ma:versionID="3f09e102de72f87546faea4f8aa6312d">
  <xsd:schema xmlns:xsd="http://www.w3.org/2001/XMLSchema" xmlns:xs="http://www.w3.org/2001/XMLSchema" xmlns:p="http://schemas.microsoft.com/office/2006/metadata/properties" xmlns:ns2="ad4de689-b4a9-4558-865e-2dbeef1a8fb8" xmlns:ns3="67fa49f7-e0da-49a4-96df-267d5fb52a42" targetNamespace="http://schemas.microsoft.com/office/2006/metadata/properties" ma:root="true" ma:fieldsID="19aa9081c630ae2a037395178089ae41" ns2:_="" ns3:_="">
    <xsd:import namespace="ad4de689-b4a9-4558-865e-2dbeef1a8fb8"/>
    <xsd:import namespace="67fa49f7-e0da-49a4-96df-267d5fb52a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4de689-b4a9-4558-865e-2dbeef1a8f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fa49f7-e0da-49a4-96df-267d5fb52a4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7fa49f7-e0da-49a4-96df-267d5fb52a42">
      <UserInfo>
        <DisplayName>Aaron Roller</DisplayName>
        <AccountId>224</AccountId>
        <AccountType/>
      </UserInfo>
      <UserInfo>
        <DisplayName>John Benigno</DisplayName>
        <AccountId>22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BEB8EC-D6EA-4E6C-A37E-48E7DCA8B8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4de689-b4a9-4558-865e-2dbeef1a8fb8"/>
    <ds:schemaRef ds:uri="67fa49f7-e0da-49a4-96df-267d5fb52a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834378B-1B9C-4D0A-B302-029FAC7BBBA7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d8380c5b-07b8-44bd-8437-eac29a5d3b64"/>
    <ds:schemaRef ds:uri="5cc5a6c1-2657-4360-b56b-d451a2f1e98e"/>
    <ds:schemaRef ds:uri="http://www.w3.org/XML/1998/namespace"/>
    <ds:schemaRef ds:uri="http://purl.org/dc/dcmitype/"/>
    <ds:schemaRef ds:uri="67fa49f7-e0da-49a4-96df-267d5fb52a42"/>
  </ds:schemaRefs>
</ds:datastoreItem>
</file>

<file path=customXml/itemProps3.xml><?xml version="1.0" encoding="utf-8"?>
<ds:datastoreItem xmlns:ds="http://schemas.openxmlformats.org/officeDocument/2006/customXml" ds:itemID="{456837DD-856D-48D4-B454-DE3A5098A7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8</TotalTime>
  <Words>690</Words>
  <Application>Microsoft Office PowerPoint</Application>
  <PresentationFormat>Widescreen</PresentationFormat>
  <Paragraphs>61</Paragraphs>
  <Slides>14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Office Theme</vt:lpstr>
      <vt:lpstr>NJEDA</vt:lpstr>
      <vt:lpstr>Banded</vt:lpstr>
      <vt:lpstr>PowerPoint Presentation</vt:lpstr>
      <vt:lpstr>PowerPoint Presentation</vt:lpstr>
      <vt:lpstr>CENTRALLY LOCATED ALONG THE WIND BELT, THE NJWP WILL SERVE AS A REGIONAL ASSET</vt:lpstr>
      <vt:lpstr>Site Location</vt:lpstr>
      <vt:lpstr>PowerPoint Presentation</vt:lpstr>
      <vt:lpstr>Site Overview/Parcel Layout</vt:lpstr>
      <vt:lpstr>Active Construction Site Panorama  January 2024</vt:lpstr>
      <vt:lpstr>Active Construction  January 2024</vt:lpstr>
      <vt:lpstr>Potential Engineering Project: Potable Water System</vt:lpstr>
      <vt:lpstr>Potential Engineering Project: Sewer Treatment Plant</vt:lpstr>
      <vt:lpstr>Potential Engineering Project: Logistics Pier</vt:lpstr>
      <vt:lpstr>Other Services Other potential engineering and design services shall include but not be limited to:  Construction Support Services </vt:lpstr>
      <vt:lpstr>Other Services (cont.) Other potential engineering and design services shall include but not be limited to: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rth Utilization Summary Results</dc:title>
  <dc:creator>Geoffrey Storr</dc:creator>
  <cp:lastModifiedBy>John Benigno</cp:lastModifiedBy>
  <cp:revision>519</cp:revision>
  <dcterms:created xsi:type="dcterms:W3CDTF">2022-09-08T19:10:09Z</dcterms:created>
  <dcterms:modified xsi:type="dcterms:W3CDTF">2024-03-29T03:5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EFB2B2647D984DB9197068070B2CD4</vt:lpwstr>
  </property>
  <property fmtid="{D5CDD505-2E9C-101B-9397-08002B2CF9AE}" pid="3" name="MediaServiceImageTags">
    <vt:lpwstr/>
  </property>
</Properties>
</file>